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/>
  </p:cmAuthor>
  <p:cmAuthor id="3" name="Miloud KADDAR" initials="MK" lastIdx="8" clrIdx="3">
    <p:extLst/>
  </p:cmAuthor>
  <p:cmAuthor id="4" name="Leah Ewald" initials="LE" lastIdx="8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E3FC"/>
    <a:srgbClr val="E5FCBE"/>
    <a:srgbClr val="00A6B6"/>
    <a:srgbClr val="A80A4B"/>
    <a:srgbClr val="CAEF00"/>
    <a:srgbClr val="00E8FF"/>
    <a:srgbClr val="07E1F5"/>
    <a:srgbClr val="CB1C68"/>
    <a:srgbClr val="E5E5E5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10" autoAdjust="0"/>
    <p:restoredTop sz="94769" autoAdjust="0"/>
  </p:normalViewPr>
  <p:slideViewPr>
    <p:cSldViewPr snapToGrid="0">
      <p:cViewPr>
        <p:scale>
          <a:sx n="78" d="100"/>
          <a:sy n="78" d="100"/>
        </p:scale>
        <p:origin x="2056" y="-208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" name="think-cell Slide" r:id="rId5" imgW="384" imgH="384" progId="">
                  <p:embed/>
                </p:oleObj>
              </mc:Choice>
              <mc:Fallback>
                <p:oleObj name="think-cell Slide" r:id="rId5" imgW="384" imgH="384" progId="">
                  <p:embed/>
                  <p:pic>
                    <p:nvPicPr>
                      <p:cNvPr id="0" name="Picture 1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5" imgW="384" imgH="384" progId="">
                  <p:embed/>
                </p:oleObj>
              </mc:Choice>
              <mc:Fallback>
                <p:oleObj name="think-cell Slide" r:id="rId5" imgW="384" imgH="384" progId="">
                  <p:embed/>
                  <p:pic>
                    <p:nvPicPr>
                      <p:cNvPr id="0" name="Picture 1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Slide" r:id="rId8" imgW="384" imgH="384" progId="">
                  <p:embed/>
                </p:oleObj>
              </mc:Choice>
              <mc:Fallback>
                <p:oleObj name="think-cell Slide" r:id="rId8" imgW="384" imgH="384" progId="">
                  <p:embed/>
                  <p:pic>
                    <p:nvPicPr>
                      <p:cNvPr id="0" name="Picture 1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-52785" y="1775305"/>
            <a:ext cx="12801600" cy="8061109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95052" y="6324393"/>
            <a:ext cx="8347241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564036" y="6386219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V. Key Challenges 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80603" y="201414"/>
            <a:ext cx="11934825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en-US" sz="3500" b="1" dirty="0">
                <a:solidFill>
                  <a:schemeClr val="bg2"/>
                </a:solidFill>
                <a:latin typeface="Arial"/>
                <a:cs typeface="Arial"/>
              </a:rPr>
              <a:t>Republic of Moldova</a:t>
            </a:r>
          </a:p>
          <a:p>
            <a:pPr eaLnBrk="1" hangingPunct="1">
              <a:spcAft>
                <a:spcPts val="175"/>
              </a:spcAft>
            </a:pPr>
            <a:r>
              <a:rPr lang="en-US" sz="2100" b="1" dirty="0">
                <a:solidFill>
                  <a:schemeClr val="bg2"/>
                </a:solidFill>
                <a:latin typeface="Arial"/>
                <a:cs typeface="Arial"/>
              </a:rPr>
              <a:t>Vaccine Procurement Workshop</a:t>
            </a:r>
          </a:p>
          <a:p>
            <a:pPr eaLnBrk="1" hangingPunct="1"/>
            <a:r>
              <a:rPr lang="en-US" sz="1600" b="1" i="1" dirty="0">
                <a:solidFill>
                  <a:schemeClr val="bg2"/>
                </a:solidFill>
                <a:latin typeface="Arial"/>
                <a:cs typeface="Arial"/>
              </a:rPr>
              <a:t>Tbilisi, April, 2019</a:t>
            </a:r>
            <a:endParaRPr lang="en-US" sz="26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577228" y="1715264"/>
            <a:ext cx="4049687" cy="4421942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92662" y="1747210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II. Vaccine Procurement in Practice</a:t>
            </a:r>
          </a:p>
        </p:txBody>
      </p:sp>
      <p:pic>
        <p:nvPicPr>
          <p:cNvPr id="70" name="Picture 69" descr="GAVI_Alliance_Colour_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029" y="9144030"/>
            <a:ext cx="1373826" cy="526633"/>
          </a:xfrm>
          <a:prstGeom prst="rect">
            <a:avLst/>
          </a:prstGeom>
        </p:spPr>
      </p:pic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65" y="9241316"/>
            <a:ext cx="2066733" cy="430914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6876036" y="9108750"/>
            <a:ext cx="1771221" cy="719892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3859583" y="1775305"/>
            <a:ext cx="4492902" cy="4467374"/>
            <a:chOff x="3842875" y="1771625"/>
            <a:chExt cx="4492902" cy="4392248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5" y="1771625"/>
              <a:ext cx="4492902" cy="4392248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36931" y="1889630"/>
              <a:ext cx="4022394" cy="288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Vaccine Procurement Organogram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4058615" y="2964173"/>
              <a:ext cx="113107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MoHLSP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DEF575CD-CC38-954A-BE73-9658E6649F03}"/>
                </a:ext>
              </a:extLst>
            </p:cNvPr>
            <p:cNvSpPr/>
            <p:nvPr/>
          </p:nvSpPr>
          <p:spPr>
            <a:xfrm>
              <a:off x="7116791" y="2964173"/>
              <a:ext cx="1135577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 dirty="0"/>
                <a:t>UNICEF SD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017573" y="2964173"/>
              <a:ext cx="53501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MoF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901734" y="5517108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ontractors</a:t>
              </a:r>
            </a:p>
          </p:txBody>
        </p:sp>
        <p:cxnSp>
          <p:nvCxnSpPr>
            <p:cNvPr id="19" name="Elbow Connector 18">
              <a:extLst>
                <a:ext uri="{FF2B5EF4-FFF2-40B4-BE49-F238E27FC236}">
                  <a16:creationId xmlns:a16="http://schemas.microsoft.com/office/drawing/2014/main" id="{800561FC-FF3F-BC4F-B878-FE08ADD3D6E1}"/>
                </a:ext>
              </a:extLst>
            </p:cNvPr>
            <p:cNvCxnSpPr>
              <a:cxnSpLocks/>
              <a:endCxn id="79" idx="1"/>
            </p:cNvCxnSpPr>
            <p:nvPr/>
          </p:nvCxnSpPr>
          <p:spPr>
            <a:xfrm flipV="1">
              <a:off x="5325087" y="3501156"/>
              <a:ext cx="1872416" cy="986129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DA2F88E-72BE-A549-AC1D-81283A0B766A}"/>
                </a:ext>
              </a:extLst>
            </p:cNvPr>
            <p:cNvSpPr/>
            <p:nvPr/>
          </p:nvSpPr>
          <p:spPr>
            <a:xfrm>
              <a:off x="7197503" y="3367806"/>
              <a:ext cx="1042534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 dirty="0"/>
                <a:t>UNICEF CO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B042-C2A6-E34F-AB25-9511628AE6E4}"/>
                </a:ext>
              </a:extLst>
            </p:cNvPr>
            <p:cNvSpPr txBox="1"/>
            <p:nvPr/>
          </p:nvSpPr>
          <p:spPr>
            <a:xfrm>
              <a:off x="5868242" y="3323928"/>
              <a:ext cx="1368692" cy="165424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900" dirty="0"/>
                <a:t>UNICEF procurement </a:t>
              </a:r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  <a:endCxn id="5" idx="1"/>
            </p:cNvCxnSpPr>
            <p:nvPr/>
          </p:nvCxnSpPr>
          <p:spPr>
            <a:xfrm>
              <a:off x="4663385" y="5047101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977062" y="5475397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entre for Public Centralized Procurement in Health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189690" y="3134443"/>
              <a:ext cx="827883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266428" y="319719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financing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287937" y="282327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planning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889932" y="4487285"/>
              <a:ext cx="1482402" cy="53610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National Agency for Public Health</a:t>
              </a: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rot="16200000" flipV="1">
              <a:off x="6127210" y="4161840"/>
              <a:ext cx="616274" cy="2094262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544929" y="4965689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Custom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1" y="5197241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1000" dirty="0"/>
                <a:t>Local  procurement </a:t>
              </a:r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65" y="1784542"/>
            <a:ext cx="3629163" cy="4379331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603" y="1840653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. What and How</a:t>
            </a: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F95DD650-2801-8840-B00F-E508B753DD9E}"/>
              </a:ext>
            </a:extLst>
          </p:cNvPr>
          <p:cNvSpPr txBox="1">
            <a:spLocks/>
          </p:cNvSpPr>
          <p:nvPr/>
        </p:nvSpPr>
        <p:spPr>
          <a:xfrm>
            <a:off x="3889932" y="2223497"/>
            <a:ext cx="4303573" cy="5568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>
                <a:solidFill>
                  <a:srgbClr val="0099FF"/>
                </a:solidFill>
                <a:latin typeface="+mn-lt"/>
              </a:rPr>
              <a:t>Republic of Moldova organogram of national procurement system and involved </a:t>
            </a:r>
            <a:r>
              <a:rPr lang="en-GB" sz="1100" b="1" dirty="0">
                <a:solidFill>
                  <a:srgbClr val="0099FF"/>
                </a:solidFill>
                <a:latin typeface="+mn-lt"/>
              </a:rPr>
              <a:t>institutions</a:t>
            </a:r>
            <a:endParaRPr lang="en-US" sz="400" i="1" dirty="0">
              <a:latin typeface="+mn-lt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C8F969-3DE8-934B-8446-D457190AB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812777"/>
              </p:ext>
            </p:extLst>
          </p:nvPr>
        </p:nvGraphicFramePr>
        <p:xfrm>
          <a:off x="154567" y="2221560"/>
          <a:ext cx="3481492" cy="3775745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595931">
                  <a:extLst>
                    <a:ext uri="{9D8B030D-6E8A-4147-A177-3AD203B41FA5}">
                      <a16:colId xmlns:a16="http://schemas.microsoft.com/office/drawing/2014/main" val="2025878907"/>
                    </a:ext>
                  </a:extLst>
                </a:gridCol>
                <a:gridCol w="629728">
                  <a:extLst>
                    <a:ext uri="{9D8B030D-6E8A-4147-A177-3AD203B41FA5}">
                      <a16:colId xmlns:a16="http://schemas.microsoft.com/office/drawing/2014/main" val="4102862948"/>
                    </a:ext>
                  </a:extLst>
                </a:gridCol>
                <a:gridCol w="1271043">
                  <a:extLst>
                    <a:ext uri="{9D8B030D-6E8A-4147-A177-3AD203B41FA5}">
                      <a16:colId xmlns:a16="http://schemas.microsoft.com/office/drawing/2014/main" val="2595862916"/>
                    </a:ext>
                  </a:extLst>
                </a:gridCol>
                <a:gridCol w="984790">
                  <a:extLst>
                    <a:ext uri="{9D8B030D-6E8A-4147-A177-3AD203B41FA5}">
                      <a16:colId xmlns:a16="http://schemas.microsoft.com/office/drawing/2014/main" val="1338605763"/>
                    </a:ext>
                  </a:extLst>
                </a:gridCol>
              </a:tblGrid>
              <a:tr h="419370">
                <a:tc>
                  <a:txBody>
                    <a:bodyPr/>
                    <a:lstStyle/>
                    <a:p>
                      <a:r>
                        <a:rPr lang="en-US" sz="800" dirty="0"/>
                        <a:t>Vaccine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esentation</a:t>
                      </a:r>
                      <a:endParaRPr lang="en-US" sz="7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Manufacturer / Price per vial (USD)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Procurement Mechanism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910428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r>
                        <a:rPr lang="en-US" sz="800" dirty="0" err="1"/>
                        <a:t>HepB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</a:t>
                      </a:r>
                      <a:r>
                        <a:rPr lang="en-US" sz="800" baseline="0" dirty="0"/>
                        <a:t> </a:t>
                      </a:r>
                      <a:r>
                        <a:rPr lang="en-US" sz="800" dirty="0"/>
                        <a:t>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Serum Institute </a:t>
                      </a:r>
                      <a:r>
                        <a:rPr lang="en-US" sz="800"/>
                        <a:t>/ 0.2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522385"/>
                  </a:ext>
                </a:extLst>
              </a:tr>
              <a:tr h="373134">
                <a:tc>
                  <a:txBody>
                    <a:bodyPr/>
                    <a:lstStyle/>
                    <a:p>
                      <a:r>
                        <a:rPr lang="en-US" sz="800" dirty="0"/>
                        <a:t>Pentaval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Serum Institute / 1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587008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r>
                        <a:rPr lang="en-US" sz="800" dirty="0"/>
                        <a:t>MM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Serum Institute / 2.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553103"/>
                  </a:ext>
                </a:extLst>
              </a:tr>
              <a:tr h="244022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M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Serum Institute / 7.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7457986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C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CIPD Ltd, / 2.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3454515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PV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SK / 1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241898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lthoven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3.5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7862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T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dirty="0"/>
                        <a:t>Serum Institute / 2.0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174315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CIPD Ltd, / 1.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5612726"/>
                  </a:ext>
                </a:extLst>
              </a:tr>
              <a:tr h="237449"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do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279867" rtl="0" eaLnBrk="1" latinLnBrk="0" hangingPunct="1"/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CIPD Ltd, / 1.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9997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CV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fizer / 3.3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9209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SK / 2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0008"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P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do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rck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/ 4.50</a:t>
                      </a:r>
                      <a:endParaRPr lang="en-US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UNICE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568225" y="1984920"/>
            <a:ext cx="4074124" cy="439336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>
              <a:buClr>
                <a:srgbClr val="00B0F0"/>
              </a:buClr>
              <a:buNone/>
            </a:pPr>
            <a:r>
              <a:rPr lang="en-US" sz="800" b="1" dirty="0">
                <a:solidFill>
                  <a:srgbClr val="0099FF"/>
                </a:solidFill>
              </a:rPr>
              <a:t>Regulatory framework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for National Immunization Program for 2016-2020 no. 1113 of 06.10.2016</a:t>
            </a:r>
            <a:endParaRPr lang="ro-MO" sz="600" b="1" dirty="0">
              <a:solidFill>
                <a:srgbClr val="002060"/>
              </a:solidFill>
            </a:endParaRP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Only WHO prequaliffied vaccines/ or EMA registered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Instructions only in Romanian and Russian languages </a:t>
            </a:r>
            <a:endParaRPr lang="en-US" sz="600" b="1" dirty="0">
              <a:solidFill>
                <a:srgbClr val="002060"/>
              </a:solidFill>
            </a:endParaRP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Law on public procurement no. 131 of 03.07.2015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en-US" sz="600" b="1" dirty="0">
                <a:solidFill>
                  <a:srgbClr val="002060"/>
                </a:solidFill>
              </a:rPr>
              <a:t>Prohibits multi-year contracting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en-US" sz="600" b="1" dirty="0">
                <a:solidFill>
                  <a:srgbClr val="002060"/>
                </a:solidFill>
              </a:rPr>
              <a:t>Other country can not buy for Moldova vaccines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Prohibits p</a:t>
            </a:r>
            <a:r>
              <a:rPr lang="en-US" sz="600" b="1" dirty="0" err="1">
                <a:solidFill>
                  <a:srgbClr val="002060"/>
                </a:solidFill>
              </a:rPr>
              <a:t>ayment</a:t>
            </a:r>
            <a:r>
              <a:rPr lang="en-US" sz="600" b="1" dirty="0">
                <a:solidFill>
                  <a:srgbClr val="002060"/>
                </a:solidFill>
              </a:rPr>
              <a:t> in advance</a:t>
            </a:r>
            <a:endParaRPr lang="ro-MO" sz="600" b="1" dirty="0">
              <a:solidFill>
                <a:srgbClr val="002060"/>
              </a:solidFill>
            </a:endParaRP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en-US" sz="600" b="1" dirty="0">
                <a:solidFill>
                  <a:srgbClr val="002060"/>
                </a:solidFill>
              </a:rPr>
              <a:t>Allows access to the Official Journal of the European Union</a:t>
            </a:r>
            <a:endParaRPr lang="ro-MO" sz="600" b="1" dirty="0">
              <a:solidFill>
                <a:srgbClr val="002060"/>
              </a:solidFill>
            </a:endParaRP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Last modified on 11th March 2019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14 modifications in 3 years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 no. 246 from 08.04.2010 for Memorandum of understanding</a:t>
            </a:r>
            <a:r>
              <a:rPr lang="ro-MO" sz="600" b="1" dirty="0">
                <a:solidFill>
                  <a:srgbClr val="002060"/>
                </a:solidFill>
              </a:rPr>
              <a:t>: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Allow vaccines without national registration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Superior to other national laws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on Centre f</a:t>
            </a:r>
            <a:r>
              <a:rPr lang="ro-MO" sz="600" b="1" dirty="0">
                <a:solidFill>
                  <a:srgbClr val="002060"/>
                </a:solidFill>
              </a:rPr>
              <a:t>o</a:t>
            </a:r>
            <a:r>
              <a:rPr lang="en-US" sz="600" b="1" dirty="0">
                <a:solidFill>
                  <a:srgbClr val="002060"/>
                </a:solidFill>
              </a:rPr>
              <a:t>r Public Centralized Procurement in Health no.1128 from 10.10.2016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no. 568 - 10.09.2009 Approving the Regulation on the Procurement of Medicines and Other Medical Products for the Needs of the Health Care System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no. 1407 - 10.12.2008 for the approval of the Regulations on the realization of public procurements from a single source</a:t>
            </a:r>
            <a:r>
              <a:rPr lang="ro-MO" sz="600" b="1" dirty="0">
                <a:solidFill>
                  <a:srgbClr val="002060"/>
                </a:solidFill>
              </a:rPr>
              <a:t> (</a:t>
            </a:r>
            <a:r>
              <a:rPr lang="ro-MO" sz="600" b="1" dirty="0">
                <a:solidFill>
                  <a:srgbClr val="FF0000"/>
                </a:solidFill>
              </a:rPr>
              <a:t>abrogated)</a:t>
            </a:r>
            <a:endParaRPr lang="en-US" sz="600" b="1" dirty="0">
              <a:solidFill>
                <a:srgbClr val="FF0000"/>
              </a:solidFill>
            </a:endParaRP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Gov. Decision no. 794 - 08.10.2013 for the approval of the Regulations on the public procurements using the negotiation procedure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800" b="1" dirty="0">
                <a:solidFill>
                  <a:srgbClr val="0099FF"/>
                </a:solidFill>
              </a:rPr>
              <a:t>Recent Vaccine introductions</a:t>
            </a:r>
            <a:endParaRPr lang="en-US" sz="800" b="1" strike="sngStrike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HPV – 2017        </a:t>
            </a:r>
            <a:r>
              <a:rPr lang="en-US" sz="600" b="1" dirty="0">
                <a:solidFill>
                  <a:srgbClr val="002060"/>
                </a:solidFill>
                <a:latin typeface="Arial"/>
                <a:cs typeface="+mn-cs"/>
              </a:rPr>
              <a:t>IPV – 2018         Rota – 2017      PCV13  – 2017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800" b="1" dirty="0">
                <a:solidFill>
                  <a:srgbClr val="0099FF"/>
                </a:solidFill>
              </a:rPr>
              <a:t>Vaccine budget and sources of financing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Epi Vaccines for 2018  = 1.092.651 USD (state budget) + 282.340 USD (GAVI)</a:t>
            </a:r>
          </a:p>
          <a:p>
            <a:pPr marL="57150" indent="0">
              <a:lnSpc>
                <a:spcPct val="120000"/>
              </a:lnSpc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Non Epi Vaccines (</a:t>
            </a:r>
            <a:r>
              <a:rPr lang="en-US" sz="600" b="1" dirty="0" err="1">
                <a:solidFill>
                  <a:srgbClr val="002060"/>
                </a:solidFill>
              </a:rPr>
              <a:t>HepA</a:t>
            </a:r>
            <a:r>
              <a:rPr lang="en-US" sz="600" b="1" dirty="0">
                <a:solidFill>
                  <a:srgbClr val="002060"/>
                </a:solidFill>
              </a:rPr>
              <a:t>, </a:t>
            </a:r>
            <a:r>
              <a:rPr lang="en-US" sz="600" b="1" dirty="0" err="1">
                <a:solidFill>
                  <a:srgbClr val="002060"/>
                </a:solidFill>
              </a:rPr>
              <a:t>Infleunza</a:t>
            </a:r>
            <a:r>
              <a:rPr lang="en-US" sz="600" b="1" dirty="0">
                <a:solidFill>
                  <a:srgbClr val="002060"/>
                </a:solidFill>
              </a:rPr>
              <a:t>, </a:t>
            </a:r>
            <a:r>
              <a:rPr lang="en-US" sz="600" b="1" dirty="0" err="1">
                <a:solidFill>
                  <a:srgbClr val="002060"/>
                </a:solidFill>
              </a:rPr>
              <a:t>Antirabic</a:t>
            </a:r>
            <a:r>
              <a:rPr lang="en-US" sz="600" b="1" dirty="0">
                <a:solidFill>
                  <a:srgbClr val="002060"/>
                </a:solidFill>
              </a:rPr>
              <a:t>) for 2018 = 479.137 USD </a:t>
            </a:r>
            <a:endParaRPr lang="ro-MO" sz="600" b="1" dirty="0">
              <a:solidFill>
                <a:srgbClr val="002060"/>
              </a:solidFill>
            </a:endParaRP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en-US" sz="600" b="1" dirty="0">
                <a:solidFill>
                  <a:srgbClr val="002060"/>
                </a:solidFill>
              </a:rPr>
              <a:t>state budget </a:t>
            </a:r>
            <a:r>
              <a:rPr lang="ro-MO" sz="600" b="1" dirty="0">
                <a:solidFill>
                  <a:srgbClr val="002060"/>
                </a:solidFill>
              </a:rPr>
              <a:t> = 287571 USD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ro-MO" sz="600" b="1" dirty="0">
                <a:solidFill>
                  <a:srgbClr val="002060"/>
                </a:solidFill>
              </a:rPr>
              <a:t>Task Force (Influenza) = 191565 USD</a:t>
            </a:r>
          </a:p>
          <a:p>
            <a:pPr marL="355600" lvl="1" indent="-287338">
              <a:lnSpc>
                <a:spcPct val="120000"/>
              </a:lnSpc>
              <a:buClr>
                <a:srgbClr val="00B0F0"/>
              </a:buClr>
            </a:pPr>
            <a:r>
              <a:rPr lang="en-US" sz="600" b="1" dirty="0">
                <a:solidFill>
                  <a:srgbClr val="002060"/>
                </a:solidFill>
              </a:rPr>
              <a:t>procurement mechanism – self procurement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Source: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All antigens are covered by state budget (except IPV, HPV- 2017-2018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IPV – GAVI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HPV – GAVI (2017-2018); HPV – State budget from 2019</a:t>
            </a:r>
            <a:endParaRPr lang="en-US" sz="8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800" b="1" dirty="0">
                <a:solidFill>
                  <a:srgbClr val="0099FF"/>
                </a:solidFill>
              </a:rPr>
              <a:t>Sources of information on vaccine market and prices</a:t>
            </a:r>
          </a:p>
          <a:p>
            <a:pPr marL="180975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UNICEF supply division catalogue</a:t>
            </a:r>
            <a:br>
              <a:rPr lang="en-US" sz="600" b="1" dirty="0">
                <a:solidFill>
                  <a:srgbClr val="002060"/>
                </a:solidFill>
              </a:rPr>
            </a:br>
            <a:r>
              <a:rPr lang="en-US" sz="600" b="1" dirty="0">
                <a:solidFill>
                  <a:srgbClr val="002060"/>
                </a:solidFill>
              </a:rPr>
              <a:t>MI4A: Market Information for Access to Vaccines</a:t>
            </a:r>
          </a:p>
          <a:p>
            <a:pPr marL="180975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V3P database</a:t>
            </a:r>
            <a:endParaRPr lang="en-US" sz="8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800" b="1" dirty="0">
                <a:solidFill>
                  <a:srgbClr val="0099FF"/>
                </a:solidFill>
              </a:rPr>
              <a:t>Shortages and over-stocks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Repeated tenders (DTP, Td, </a:t>
            </a:r>
            <a:r>
              <a:rPr lang="en-US" sz="600" b="1" dirty="0" err="1">
                <a:solidFill>
                  <a:srgbClr val="002060"/>
                </a:solidFill>
              </a:rPr>
              <a:t>bVPO</a:t>
            </a:r>
            <a:r>
              <a:rPr lang="en-US" sz="600" b="1" dirty="0">
                <a:solidFill>
                  <a:srgbClr val="002060"/>
                </a:solidFill>
              </a:rPr>
              <a:t> – 2015 BCG 2014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Lack of bidder (Td, </a:t>
            </a:r>
            <a:r>
              <a:rPr lang="en-US" sz="600" b="1" dirty="0" err="1">
                <a:solidFill>
                  <a:srgbClr val="002060"/>
                </a:solidFill>
              </a:rPr>
              <a:t>bVPO</a:t>
            </a:r>
            <a:r>
              <a:rPr lang="en-US" sz="600" b="1" dirty="0">
                <a:solidFill>
                  <a:srgbClr val="002060"/>
                </a:solidFill>
              </a:rPr>
              <a:t>, DTP, ROR  – 2015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Increasing/high prices (Td, </a:t>
            </a:r>
            <a:r>
              <a:rPr lang="en-US" sz="600" b="1" dirty="0" err="1">
                <a:solidFill>
                  <a:srgbClr val="002060"/>
                </a:solidFill>
              </a:rPr>
              <a:t>bVPO</a:t>
            </a:r>
            <a:r>
              <a:rPr lang="en-US" sz="600" b="1" dirty="0">
                <a:solidFill>
                  <a:srgbClr val="002060"/>
                </a:solidFill>
              </a:rPr>
              <a:t> – 2015) (rabies vaccine from Russia 2016)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600" b="1" dirty="0">
                <a:solidFill>
                  <a:srgbClr val="002060"/>
                </a:solidFill>
              </a:rPr>
              <a:t>Delayed procurement/supply  (Td 2014) (BCG -2015)</a:t>
            </a:r>
            <a:endParaRPr lang="ro-MO" sz="600" b="1" dirty="0">
              <a:solidFill>
                <a:srgbClr val="002060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ro-MO" sz="600" b="1" dirty="0">
                <a:solidFill>
                  <a:srgbClr val="002060"/>
                </a:solidFill>
              </a:rPr>
              <a:t>HPV – no stock out  in 2017, 2018</a:t>
            </a:r>
            <a:endParaRPr lang="en-US" sz="600" b="1" dirty="0">
              <a:solidFill>
                <a:srgbClr val="002060"/>
              </a:solidFill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4624" y="6283413"/>
            <a:ext cx="4049687" cy="27480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3993" y="6405571"/>
            <a:ext cx="2867025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V. Way Forward</a:t>
            </a: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617789" y="6729089"/>
            <a:ext cx="4009125" cy="225106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What main challenges may arise over the next 3 years?</a:t>
            </a:r>
          </a:p>
          <a:p>
            <a:pPr indent="-285750">
              <a:buClr>
                <a:srgbClr val="00B0F0"/>
              </a:buClr>
            </a:pPr>
            <a:r>
              <a:rPr lang="en-US" sz="1100" dirty="0"/>
              <a:t>Self procurement </a:t>
            </a:r>
            <a:r>
              <a:rPr lang="ro-MO" sz="1100" dirty="0"/>
              <a:t>/</a:t>
            </a:r>
            <a:r>
              <a:rPr lang="en-US" sz="1100" dirty="0"/>
              <a:t>joint procurement in the SEEHN region</a:t>
            </a:r>
          </a:p>
          <a:p>
            <a:pPr indent="-285750">
              <a:buClr>
                <a:srgbClr val="00B0F0"/>
              </a:buClr>
            </a:pPr>
            <a:r>
              <a:rPr lang="en-US" sz="1100" dirty="0"/>
              <a:t>Increasing price of vaccines</a:t>
            </a:r>
            <a:r>
              <a:rPr lang="ro-MO" sz="1100" dirty="0"/>
              <a:t> in case of s</a:t>
            </a:r>
            <a:r>
              <a:rPr lang="en-US" sz="1100" dirty="0"/>
              <a:t>elf </a:t>
            </a:r>
            <a:r>
              <a:rPr lang="ro-MO" sz="1100" dirty="0"/>
              <a:t>/</a:t>
            </a:r>
            <a:r>
              <a:rPr lang="en-US" sz="1100" dirty="0"/>
              <a:t>joint procurement </a:t>
            </a:r>
          </a:p>
          <a:p>
            <a:pPr indent="-285750">
              <a:buClr>
                <a:srgbClr val="00B0F0"/>
              </a:buClr>
            </a:pPr>
            <a:r>
              <a:rPr lang="en-US" sz="1100" dirty="0"/>
              <a:t>Financial instability</a:t>
            </a:r>
          </a:p>
          <a:p>
            <a:pPr marL="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What kind of skills, tools and support might you need to improve vaccine procurement  efficiency and introduction of new vaccines in the near future? </a:t>
            </a:r>
            <a:r>
              <a:rPr lang="en-US" sz="1100" dirty="0"/>
              <a:t> </a:t>
            </a:r>
          </a:p>
          <a:p>
            <a:pPr marL="228600" indent="-171450">
              <a:buClr>
                <a:srgbClr val="00B0F0"/>
              </a:buClr>
            </a:pPr>
            <a:r>
              <a:rPr lang="en-US" sz="1100" dirty="0">
                <a:latin typeface="+mn-lt"/>
              </a:rPr>
              <a:t>New trainings for procurement stakeholders for development of staff capacity</a:t>
            </a:r>
          </a:p>
          <a:p>
            <a:pPr marL="228600" indent="-171450">
              <a:buClr>
                <a:srgbClr val="00B0F0"/>
              </a:buClr>
            </a:pPr>
            <a:r>
              <a:rPr lang="en-US" sz="1100" dirty="0">
                <a:latin typeface="+mn-lt"/>
              </a:rPr>
              <a:t>Increase knowledge of global vaccine markets</a:t>
            </a:r>
          </a:p>
          <a:p>
            <a:pPr marL="228600" indent="-171450">
              <a:buClr>
                <a:srgbClr val="00B0F0"/>
              </a:buClr>
            </a:pPr>
            <a:r>
              <a:rPr lang="en-US" sz="1100" dirty="0">
                <a:latin typeface="+mn-lt"/>
              </a:rPr>
              <a:t>SOPs for procurement of vaccines</a:t>
            </a:r>
          </a:p>
          <a:p>
            <a:pPr marL="228600" indent="-171450">
              <a:buClr>
                <a:srgbClr val="00B0F0"/>
              </a:buClr>
            </a:pPr>
            <a:r>
              <a:rPr lang="en-US" sz="1100" dirty="0">
                <a:latin typeface="+mn-lt"/>
              </a:rPr>
              <a:t>Increase of political commitment </a:t>
            </a: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7763" y="6857574"/>
            <a:ext cx="1891923" cy="191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Explaining factors</a:t>
            </a:r>
            <a:endParaRPr lang="ka-GE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36525" indent="-122238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Long period without self procurement</a:t>
            </a:r>
          </a:p>
          <a:p>
            <a:pPr marL="136525" indent="-122238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Legal framework creates little space for innovative procurement matching the vaccine market </a:t>
            </a:r>
          </a:p>
          <a:p>
            <a:pPr marL="136525" indent="-122238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Lack of periodic meeting structure between all key stakeholders</a:t>
            </a:r>
          </a:p>
          <a:p>
            <a:pPr marL="136525" indent="-122238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Volatility of the money has a significant impact on vaccine procurement, planning and budget</a:t>
            </a: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46827" y="6812640"/>
            <a:ext cx="2340100" cy="205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Mitigating Mechanisms</a:t>
            </a: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Reviewed legislation to enable use of current public procurement modalities and policy in use by EU governments for bidding and contracting from 2021</a:t>
            </a:r>
            <a:r>
              <a:rPr lang="ro-MO" sz="900" dirty="0">
                <a:latin typeface="Arial"/>
                <a:cs typeface="Arial"/>
              </a:rPr>
              <a:t> </a:t>
            </a:r>
            <a:r>
              <a:rPr lang="en-US" sz="900" dirty="0">
                <a:latin typeface="Arial"/>
                <a:cs typeface="Arial"/>
              </a:rPr>
              <a:t>(joint procurement)</a:t>
            </a: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Provided relevant training to all staff in the process, with specific reference to vaccine procurement training</a:t>
            </a: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Regular communication and coordination amongst stakeholders engaged in vaccine procurement</a:t>
            </a: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Increasing awareness for national stakeholders of financial sustainability </a:t>
            </a: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3525" y="6899874"/>
            <a:ext cx="1799897" cy="1909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Possible Solutions 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Improved legal framework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Provide regular training for vaccine procurement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Multi-year forecasting aligned with multi-year contracting and vaccine availability 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900" dirty="0">
                <a:latin typeface="Arial"/>
                <a:cs typeface="Arial"/>
              </a:rPr>
              <a:t>Develop and implement improvement plans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900" dirty="0">
                <a:latin typeface="Arial"/>
                <a:cs typeface="Arial"/>
              </a:rPr>
              <a:t>Strengthening </a:t>
            </a:r>
            <a:r>
              <a:rPr lang="en-US" sz="900" dirty="0">
                <a:latin typeface="Arial"/>
                <a:cs typeface="Arial"/>
              </a:rPr>
              <a:t>collaboration between national stakeholders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9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65" y="6893857"/>
            <a:ext cx="1980528" cy="199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Challenges</a:t>
            </a:r>
            <a:endParaRPr lang="ka-GE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36525" indent="-136525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Self procurement procedure can face weak capabilities after UNICEF mechanism</a:t>
            </a:r>
          </a:p>
          <a:p>
            <a:pPr marL="136525" indent="-136525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Legal framework offers little room for identifying an innovative procurement process for the vaccine market</a:t>
            </a:r>
          </a:p>
          <a:p>
            <a:pPr marL="136525" indent="-136525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Financial issues due to implementation of new vaccines</a:t>
            </a:r>
          </a:p>
          <a:p>
            <a:pPr marL="136525" indent="-136525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900" dirty="0">
                <a:latin typeface="Arial"/>
                <a:cs typeface="Arial"/>
              </a:rPr>
              <a:t>Multiannual forecast, correlated with multiannual contracting and availability of vaccines </a:t>
            </a:r>
          </a:p>
        </p:txBody>
      </p:sp>
      <p:pic>
        <p:nvPicPr>
          <p:cNvPr id="4098" name="Picture 2" descr="C:\Users\Alexei™\Desktop\md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313" y="1"/>
            <a:ext cx="2963836" cy="1481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Alexei™\Desktop\ansp-e155151246929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000" y="-7443"/>
            <a:ext cx="1718031" cy="1589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 flipH="1">
            <a:off x="4619855" y="3391413"/>
            <a:ext cx="11278" cy="1113209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3EBBD3B-6519-194F-9914-E928C27FA416}"/>
              </a:ext>
            </a:extLst>
          </p:cNvPr>
          <p:cNvSpPr txBox="1"/>
          <p:nvPr/>
        </p:nvSpPr>
        <p:spPr>
          <a:xfrm>
            <a:off x="4231107" y="3579962"/>
            <a:ext cx="323165" cy="58662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900" dirty="0"/>
              <a:t>planning</a:t>
            </a:r>
          </a:p>
        </p:txBody>
      </p:sp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B3D56649-4E3B-3541-A097-DAC5047AC18A}"/>
              </a:ext>
            </a:extLst>
          </p:cNvPr>
          <p:cNvSpPr/>
          <p:nvPr/>
        </p:nvSpPr>
        <p:spPr>
          <a:xfrm>
            <a:off x="6923731" y="4184186"/>
            <a:ext cx="1269774" cy="47012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Medicines and Medical Devices Agency / NRA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BAD16F3E-F2F3-F84D-9B89-032CBDB5B869}"/>
              </a:ext>
            </a:extLst>
          </p:cNvPr>
          <p:cNvCxnSpPr>
            <a:cxnSpLocks/>
          </p:cNvCxnSpPr>
          <p:nvPr/>
        </p:nvCxnSpPr>
        <p:spPr>
          <a:xfrm>
            <a:off x="5372334" y="4749288"/>
            <a:ext cx="1529400" cy="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6643517" y="3245184"/>
            <a:ext cx="465039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D10A8BA5-D78B-DC40-A0A3-E7637CB8B139}"/>
              </a:ext>
            </a:extLst>
          </p:cNvPr>
          <p:cNvSpPr txBox="1"/>
          <p:nvPr/>
        </p:nvSpPr>
        <p:spPr>
          <a:xfrm>
            <a:off x="5622617" y="4748147"/>
            <a:ext cx="13107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Import Authorization</a:t>
            </a:r>
          </a:p>
        </p:txBody>
      </p:sp>
      <p:cxnSp>
        <p:nvCxnSpPr>
          <p:cNvPr id="106" name="Elbow Connector 105">
            <a:extLst>
              <a:ext uri="{FF2B5EF4-FFF2-40B4-BE49-F238E27FC236}">
                <a16:creationId xmlns:a16="http://schemas.microsoft.com/office/drawing/2014/main" id="{E711F621-55EB-2648-AC57-53674B5D8BF8}"/>
              </a:ext>
            </a:extLst>
          </p:cNvPr>
          <p:cNvCxnSpPr>
            <a:cxnSpLocks/>
            <a:stCxn id="5" idx="3"/>
          </p:cNvCxnSpPr>
          <p:nvPr/>
        </p:nvCxnSpPr>
        <p:spPr>
          <a:xfrm flipV="1">
            <a:off x="8079929" y="4660879"/>
            <a:ext cx="97548" cy="1096697"/>
          </a:xfrm>
          <a:prstGeom prst="bentConnector2">
            <a:avLst/>
          </a:prstGeom>
          <a:ln w="28575">
            <a:solidFill>
              <a:srgbClr val="00A6B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C3EBBD3B-6519-194F-9914-E928C27FA416}"/>
              </a:ext>
            </a:extLst>
          </p:cNvPr>
          <p:cNvSpPr txBox="1"/>
          <p:nvPr/>
        </p:nvSpPr>
        <p:spPr>
          <a:xfrm>
            <a:off x="7901637" y="4831903"/>
            <a:ext cx="323165" cy="76280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900" dirty="0"/>
              <a:t>Registration</a:t>
            </a:r>
          </a:p>
        </p:txBody>
      </p:sp>
      <p:cxnSp>
        <p:nvCxnSpPr>
          <p:cNvPr id="4102" name="Straight Connector 4101"/>
          <p:cNvCxnSpPr>
            <a:stCxn id="23" idx="2"/>
          </p:cNvCxnSpPr>
          <p:nvPr/>
        </p:nvCxnSpPr>
        <p:spPr>
          <a:xfrm flipH="1">
            <a:off x="7701287" y="3259513"/>
            <a:ext cx="1" cy="94646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4102"/>
          <p:cNvSpPr txBox="1"/>
          <p:nvPr/>
        </p:nvSpPr>
        <p:spPr>
          <a:xfrm>
            <a:off x="10617506" y="2251810"/>
            <a:ext cx="184731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60" name="Picture 59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9422BB84-E849-1D49-A5F5-52C9C0D13510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6442" y="9148678"/>
            <a:ext cx="2630922" cy="57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F8F70BE-E4CC-4D73-8BA0-08FE658F0A94}">
  <ds:schemaRefs>
    <ds:schemaRef ds:uri="http://purl.org/dc/terms/"/>
    <ds:schemaRef ds:uri="http://schemas.microsoft.com/office/2006/metadata/properties"/>
    <ds:schemaRef ds:uri="768c69c3-fa35-427a-bd39-62ed8a1a923f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2af4539b-39f3-4771-ac1a-16de5a20c39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92F8747-065D-4CF1-AE8D-ABAA3BBAFE2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23</TotalTime>
  <Words>809</Words>
  <Application>Microsoft Macintosh PowerPoint</Application>
  <PresentationFormat>A3 Paper (297x420 mm)</PresentationFormat>
  <Paragraphs>15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349</cp:revision>
  <cp:lastPrinted>2018-06-28T08:33:47Z</cp:lastPrinted>
  <dcterms:created xsi:type="dcterms:W3CDTF">2013-09-25T20:04:22Z</dcterms:created>
  <dcterms:modified xsi:type="dcterms:W3CDTF">2019-04-05T14:4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